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3"/>
  </p:notesMasterIdLst>
  <p:sldIdLst>
    <p:sldId id="257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</p:sldIdLst>
  <p:sldSz cx="18288000" cy="10287000"/>
  <p:notesSz cx="6858000" cy="9144000"/>
  <p:embeddedFontLst>
    <p:embeddedFont>
      <p:font typeface="Raleway" pitchFamily="2" charset="0"/>
      <p:regular r:id="rId14"/>
      <p:bold r:id="rId15"/>
      <p:italic r:id="rId16"/>
      <p:boldItalic r:id="rId17"/>
    </p:embeddedFont>
    <p:embeddedFont>
      <p:font typeface="Roboto Light" panose="02000000000000000000" pitchFamily="2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47" d="100"/>
          <a:sy n="47" d="100"/>
        </p:scale>
        <p:origin x="596" y="44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US"/>
              <a:t>Orders per day of the week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rders</c:v>
                </c:pt>
              </c:strCache>
            </c:strRef>
          </c:tx>
          <c:invertIfNegative val="1"/>
          <c:cat>
            <c:strRef>
              <c:f>Sheet1!$A$2:$A$8</c:f>
              <c:strCache>
                <c:ptCount val="7"/>
                <c:pt idx="0">
                  <c:v>Sunday</c:v>
                </c:pt>
                <c:pt idx="1">
                  <c:v>Monday</c:v>
                </c:pt>
                <c:pt idx="2">
                  <c:v>Tuesday</c:v>
                </c:pt>
                <c:pt idx="3">
                  <c:v>Wednesday</c:v>
                </c:pt>
                <c:pt idx="4">
                  <c:v>Thursday</c:v>
                </c:pt>
                <c:pt idx="5">
                  <c:v>Friday</c:v>
                </c:pt>
                <c:pt idx="6">
                  <c:v>Saturda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62</c:v>
                </c:pt>
                <c:pt idx="1">
                  <c:v>228</c:v>
                </c:pt>
                <c:pt idx="2">
                  <c:v>205</c:v>
                </c:pt>
                <c:pt idx="3">
                  <c:v>239</c:v>
                </c:pt>
                <c:pt idx="4">
                  <c:v>379</c:v>
                </c:pt>
                <c:pt idx="5">
                  <c:v>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1F-4922-A157-4EBB155791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t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IN"/>
              <a:t>Orders per hour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s</c:v>
                </c:pt>
              </c:strCache>
            </c:strRef>
          </c:tx>
          <c:marker>
            <c:symbol val="none"/>
          </c:marker>
          <c:cat>
            <c:strRef>
              <c:f>Sheet1!$A$2:$A$15</c:f>
              <c:strCache>
                <c:ptCount val="14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  <c:pt idx="9">
                  <c:v>19</c:v>
                </c:pt>
                <c:pt idx="10">
                  <c:v>20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</c:v>
                </c:pt>
                <c:pt idx="1">
                  <c:v>99</c:v>
                </c:pt>
                <c:pt idx="2">
                  <c:v>199</c:v>
                </c:pt>
                <c:pt idx="3">
                  <c:v>204</c:v>
                </c:pt>
                <c:pt idx="4">
                  <c:v>121</c:v>
                </c:pt>
                <c:pt idx="5">
                  <c:v>170</c:v>
                </c:pt>
                <c:pt idx="6">
                  <c:v>218</c:v>
                </c:pt>
                <c:pt idx="7">
                  <c:v>187</c:v>
                </c:pt>
                <c:pt idx="8">
                  <c:v>194</c:v>
                </c:pt>
                <c:pt idx="9">
                  <c:v>157</c:v>
                </c:pt>
                <c:pt idx="10">
                  <c:v>120</c:v>
                </c:pt>
                <c:pt idx="11">
                  <c:v>55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41-4873-A163-8D95EF660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8791784"/>
        <c:axId val="2140495176"/>
      </c:lineChart>
      <c:catAx>
        <c:axId val="2118791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0495176"/>
        <c:crosses val="autoZero"/>
        <c:auto val="1"/>
        <c:lblAlgn val="ctr"/>
        <c:lblOffset val="100"/>
        <c:noMultiLvlLbl val="0"/>
      </c:catAx>
      <c:valAx>
        <c:axId val="21404951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18791784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title>
      <c:tx>
        <c:rich>
          <a:bodyPr/>
          <a:lstStyle/>
          <a:p>
            <a:r>
              <a:rPr lang="en-IN"/>
              <a:t>Category-wise sales distribution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Classic</c:v>
                </c:pt>
                <c:pt idx="1">
                  <c:v>Supreme</c:v>
                </c:pt>
                <c:pt idx="2">
                  <c:v>Veggie</c:v>
                </c:pt>
                <c:pt idx="3">
                  <c:v>Chicke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.2</c:v>
                </c:pt>
                <c:pt idx="1">
                  <c:v>25.65</c:v>
                </c:pt>
                <c:pt idx="2">
                  <c:v>23.69</c:v>
                </c:pt>
                <c:pt idx="3">
                  <c:v>23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21-40F4-A0F9-6F65E5C834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l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title>
      <c:tx>
        <c:rich>
          <a:bodyPr/>
          <a:lstStyle/>
          <a:p>
            <a:r>
              <a:rPr lang="en-IN"/>
              <a:t>Size-wise sales distribution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Large</c:v>
                </c:pt>
                <c:pt idx="1">
                  <c:v>Medium</c:v>
                </c:pt>
                <c:pt idx="2">
                  <c:v>Small</c:v>
                </c:pt>
                <c:pt idx="3">
                  <c:v>X-Large</c:v>
                </c:pt>
                <c:pt idx="4">
                  <c:v>XX-Larg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6.18</c:v>
                </c:pt>
                <c:pt idx="1">
                  <c:v>29.83</c:v>
                </c:pt>
                <c:pt idx="2">
                  <c:v>21.91</c:v>
                </c:pt>
                <c:pt idx="3">
                  <c:v>1.99</c:v>
                </c:pt>
                <c:pt idx="4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B7-4EC9-8F7B-D0C8A7DCE7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l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shaianramesht?utm_source=smart%20slides&amp;utm_medium=referral" TargetMode="External"/><Relationship Id="rId4" Type="http://schemas.openxmlformats.org/officeDocument/2006/relationships/hyperlink" Target="https://unsplash.com/photos/selective-focus-photography-of-two-pizzas-exSEmuA7R7k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cathalmacan?utm_source=smart%20slides&amp;utm_medium=referral" TargetMode="External"/><Relationship Id="rId4" Type="http://schemas.openxmlformats.org/officeDocument/2006/relationships/hyperlink" Target="https://unsplash.com/photos/man-standing-beside-fireplace-facing-backwards-CJAKsppS2co?utm_source=smart%20slides&amp;utm_medium=referral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97516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dirty="0"/>
              <a:t>Presented by: </a:t>
            </a:r>
            <a:r>
              <a:rPr lang="en-IN" sz="2800" dirty="0" err="1"/>
              <a:t>Sathishsagar</a:t>
            </a:r>
            <a:r>
              <a:rPr lang="en-IN" sz="2800" dirty="0"/>
              <a:t> Chanda</a:t>
            </a:r>
            <a:endParaRPr lang="en-US" sz="2800" dirty="0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 flipH="1" flipV="1">
            <a:off x="19611833" y="7355257"/>
            <a:ext cx="122830" cy="12283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7030A0"/>
                </a:solidFill>
              </a:rPr>
              <a:t>Pizza Sales Analysis</a:t>
            </a:r>
            <a:endParaRPr lang="en-US" dirty="0">
              <a:solidFill>
                <a:srgbClr val="7030A0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839095"/>
          </a:xfrm>
        </p:spPr>
        <p:txBody>
          <a:bodyPr>
            <a:normAutofit fontScale="92500" lnSpcReduction="10000"/>
          </a:bodyPr>
          <a:lstStyle/>
          <a:p>
            <a:r>
              <a:rPr lang="en-IN" dirty="0"/>
              <a:t>MS-EXCEL Project - 3</a:t>
            </a:r>
            <a:endParaRPr lang="en-US" dirty="0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6E800-B5D1-3731-8C98-49D996DF4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>
            <a:extLst>
              <a:ext uri="{FF2B5EF4-FFF2-40B4-BE49-F238E27FC236}">
                <a16:creationId xmlns:a16="http://schemas.microsoft.com/office/drawing/2014/main" id="{664406CD-AB31-8596-CC3E-3C2E09735598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18ADD1-C278-21E7-3B83-B915D7788C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9074" y="2277036"/>
            <a:ext cx="13968341" cy="2117544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  <a:defRPr sz="3600">
                <a:latin typeface="Calibri"/>
              </a:defRPr>
            </a:pPr>
            <a:r>
              <a:rPr lang="en-IN" dirty="0"/>
              <a:t>Added </a:t>
            </a:r>
            <a:r>
              <a:rPr lang="en-IN" dirty="0" err="1"/>
              <a:t>total_oders</a:t>
            </a:r>
            <a:r>
              <a:rPr lang="en-IN" dirty="0"/>
              <a:t> column by writing =1/COUNTIF(B:B,[@[order_id]])</a:t>
            </a:r>
          </a:p>
          <a:p>
            <a:pPr>
              <a:buFont typeface="Wingdings" panose="05000000000000000000" pitchFamily="2" charset="2"/>
              <a:buChar char="§"/>
              <a:defRPr sz="3600">
                <a:latin typeface="Calibri"/>
              </a:defRPr>
            </a:pPr>
            <a:r>
              <a:rPr lang="en-IN" dirty="0"/>
              <a:t>Added </a:t>
            </a:r>
            <a:r>
              <a:rPr lang="en-IN" dirty="0" err="1"/>
              <a:t>order_day</a:t>
            </a:r>
            <a:r>
              <a:rPr lang="en-IN" dirty="0"/>
              <a:t> column by writing =TEXT([@[order_date]],"dddd")</a:t>
            </a:r>
          </a:p>
          <a:p>
            <a:pPr marL="76200" indent="0">
              <a:buNone/>
              <a:defRPr sz="3600">
                <a:latin typeface="Calibri"/>
              </a:defRPr>
            </a:pPr>
            <a:endParaRPr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5806E3-9707-F059-AA96-3D44FE070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lang="en-IN" dirty="0"/>
              <a:t>Dax Queries:</a:t>
            </a:r>
            <a:endParaRPr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811E7AB-80B4-97BA-B475-496828C073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5387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B5A7F-8617-64FD-D0ED-1257FCA15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>
            <a:extLst>
              <a:ext uri="{FF2B5EF4-FFF2-40B4-BE49-F238E27FC236}">
                <a16:creationId xmlns:a16="http://schemas.microsoft.com/office/drawing/2014/main" id="{6DAA9839-4267-47D2-B211-B63F2BBA4E2D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3F7FCC-D781-7E05-6AD6-86ED38AEE9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Friday and Saturday are the busiest days.</a:t>
            </a:r>
          </a:p>
          <a:p>
            <a:pPr>
              <a:defRPr sz="3600">
                <a:latin typeface="Calibri"/>
              </a:defRPr>
            </a:pPr>
            <a:r>
              <a:t>Large pizzas are the most popular size.</a:t>
            </a:r>
          </a:p>
          <a:p>
            <a:pPr>
              <a:defRPr sz="3600">
                <a:latin typeface="Calibri"/>
              </a:defRPr>
            </a:pPr>
            <a:r>
              <a:t>Classic pizzas generate the most revenue.</a:t>
            </a:r>
          </a:p>
          <a:p>
            <a:pPr>
              <a:defRPr sz="3600">
                <a:latin typeface="Calibri"/>
              </a:defRPr>
            </a:pPr>
            <a:r>
              <a:t>Optimizing stock for peak hours can boost sal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F7FEB7-A667-8151-A5CF-1593A104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Conclusion &amp; Insigh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D8CCB4-0DE9-BAF1-E316-641DD94EA3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27605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Understanding customer ordering patterns, best-selling pizzas, and peak sales times to optimize sales and inventory manage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Problem State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exSEmuA7R7k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Total Revenue: $71,402.75</a:t>
            </a:r>
          </a:p>
          <a:p>
            <a:pPr>
              <a:defRPr sz="3600">
                <a:latin typeface="Calibri"/>
              </a:defRPr>
            </a:pPr>
            <a:r>
              <a:t>Total Pizzas Sold: 4,328</a:t>
            </a:r>
          </a:p>
          <a:p>
            <a:pPr>
              <a:defRPr sz="3600">
                <a:latin typeface="Calibri"/>
              </a:defRPr>
            </a:pPr>
            <a:r>
              <a:t>Average Order Price: $38.53</a:t>
            </a:r>
          </a:p>
          <a:p>
            <a:pPr>
              <a:defRPr sz="3600">
                <a:latin typeface="Calibri"/>
              </a:defRPr>
            </a:pPr>
            <a:r>
              <a:t>Total Orders: 1,853</a:t>
            </a:r>
          </a:p>
          <a:p>
            <a:pPr>
              <a:defRPr sz="3600">
                <a:latin typeface="Calibri"/>
              </a:defRPr>
            </a:pPr>
            <a:r>
              <a:t>Average Pizzas Per Order: 2.34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Key Metric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3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4"/>
              </a:rPr>
              <a:t>Photo: selective focus photography of two pizzas</a:t>
            </a:r>
          </a:p>
          <a:p>
            <a:r>
              <a:rPr>
                <a:hlinkClick r:id="rId5"/>
              </a:rPr>
              <a:t>Photo by shayan ramesht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ales peak on Fridays and Saturdays.</a:t>
            </a:r>
          </a:p>
          <a:p>
            <a:pPr>
              <a:defRPr sz="3600">
                <a:latin typeface="Calibri"/>
              </a:defRPr>
            </a:pPr>
            <a:r>
              <a:t>Lowest sales occur on Tuesdays.</a:t>
            </a:r>
          </a:p>
          <a:p>
            <a:pPr>
              <a:defRPr sz="3600">
                <a:latin typeface="Calibri"/>
              </a:defRPr>
            </a:pPr>
            <a:r>
              <a:t>Friday has the highest number of orders (379)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Daily Sales Trend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Power BI Dashboar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aily Trend for Total Orde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417552"/>
              </p:ext>
            </p:extLst>
          </p:nvPr>
        </p:nvGraphicFramePr>
        <p:xfrm>
          <a:off x="5896496" y="3254375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Peak ordering hours: 12 PM - 1 PM and 4 PM - 8 PM.</a:t>
            </a:r>
          </a:p>
          <a:p>
            <a:pPr>
              <a:defRPr sz="3600">
                <a:latin typeface="Calibri"/>
              </a:defRPr>
            </a:pPr>
            <a:r>
              <a:t>Lowest orders at 10 AM and after 10 PM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Hourly Sales Trend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Hourly Trend for Total Orde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Power BI Dashboard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131464"/>
              </p:ext>
            </p:extLst>
          </p:nvPr>
        </p:nvGraphicFramePr>
        <p:xfrm>
          <a:off x="919075" y="3254375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lassic pizzas contribute the most sales (27.2%).</a:t>
            </a:r>
          </a:p>
          <a:p>
            <a:pPr>
              <a:defRPr sz="3600">
                <a:latin typeface="Calibri"/>
              </a:defRPr>
            </a:pPr>
            <a:r>
              <a:t>Supreme and Veggie categories follow closely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Sales by Pizza Category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Power BI Dashboar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% Sales by Pizza Categor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7023600" y="3430799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arge pizzas contribute the highest sales (46.18%).</a:t>
            </a:r>
          </a:p>
          <a:p>
            <a:pPr>
              <a:defRPr sz="3600">
                <a:latin typeface="Calibri"/>
              </a:defRPr>
            </a:pPr>
            <a:r>
              <a:t>XX-Large pizzas have the least share (0.15%)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Sales by Pizza Size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% Sales by Pizza Siz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Power BI Dashboard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082100"/>
              </p:ext>
            </p:extLst>
          </p:nvPr>
        </p:nvGraphicFramePr>
        <p:xfrm>
          <a:off x="919075" y="3429000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CJAKsppS2co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Top-selling pizzas: Classic Deluxe, Chicken Pizza, Pepperoni Pizza.</a:t>
            </a:r>
          </a:p>
          <a:p>
            <a:pPr>
              <a:defRPr sz="3600">
                <a:latin typeface="Calibri"/>
              </a:defRPr>
            </a:pPr>
            <a:r>
              <a:t>Least-selling pizzas: Soppressata, Brie Carre, Chicken Pesto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Best and Worst Seller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3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4"/>
              </a:rPr>
              <a:t>Photo: man standing beside fireplace facing backwards</a:t>
            </a:r>
          </a:p>
          <a:p>
            <a:r>
              <a:rPr>
                <a:hlinkClick r:id="rId5"/>
              </a:rPr>
              <a:t>Photo by Cathal Mac an Bheatha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08171" y="51918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lang="en-IN" dirty="0"/>
              <a:t>Dashboard:</a:t>
            </a:r>
            <a:endParaRPr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56A47DB9-FBF6-BAFD-1B2B-0F6BC61B1B3B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682388" y="878575"/>
            <a:ext cx="15954233" cy="9056996"/>
          </a:xfrm>
          <a:solidFill>
            <a:srgbClr val="8500EA"/>
          </a:solidFill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1</TotalTime>
  <Words>340</Words>
  <Application>Microsoft Office PowerPoint</Application>
  <PresentationFormat>Custom</PresentationFormat>
  <Paragraphs>5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Wingdings</vt:lpstr>
      <vt:lpstr>Arial</vt:lpstr>
      <vt:lpstr>Calibri</vt:lpstr>
      <vt:lpstr>Roboto Light</vt:lpstr>
      <vt:lpstr>Raleway</vt:lpstr>
      <vt:lpstr>Smart Slides v1</vt:lpstr>
      <vt:lpstr>think-cell Slide</vt:lpstr>
      <vt:lpstr>Pizza Sales Analysis</vt:lpstr>
      <vt:lpstr>Problem Statement</vt:lpstr>
      <vt:lpstr>Key Metrics</vt:lpstr>
      <vt:lpstr>Daily Sales Trend</vt:lpstr>
      <vt:lpstr>Hourly Sales Trend</vt:lpstr>
      <vt:lpstr>Sales by Pizza Category</vt:lpstr>
      <vt:lpstr>Sales by Pizza Size</vt:lpstr>
      <vt:lpstr>Best and Worst Sellers</vt:lpstr>
      <vt:lpstr>Dashboard:</vt:lpstr>
      <vt:lpstr>Dax Queries:</vt:lpstr>
      <vt:lpstr>Conclusion &amp; Insigh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Anil Sagar</cp:lastModifiedBy>
  <cp:revision>65</cp:revision>
  <dcterms:modified xsi:type="dcterms:W3CDTF">2025-02-25T09:51:43Z</dcterms:modified>
</cp:coreProperties>
</file>